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3"/>
  </p:sldMasterIdLst>
  <p:notesMasterIdLst>
    <p:notesMasterId r:id="rId9"/>
  </p:notesMasterIdLst>
  <p:sldIdLst>
    <p:sldId id="1322" r:id="rId4"/>
    <p:sldId id="1323" r:id="rId5"/>
    <p:sldId id="1419" r:id="rId6"/>
    <p:sldId id="1373" r:id="rId7"/>
    <p:sldId id="286" r:id="rId8"/>
  </p:sldIdLst>
  <p:sldSz cx="12192000" cy="6858000"/>
  <p:notesSz cx="6858000" cy="9144000"/>
  <p:custDataLst>
    <p:tags r:id="rId1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DDC678D0-D051-4F37-9A7C-45E0E3BE916E}">
          <p14:sldIdLst>
            <p14:sldId id="1322"/>
            <p14:sldId id="1323"/>
            <p14:sldId id="1419"/>
            <p14:sldId id="1373"/>
            <p14:sldId id="286"/>
          </p14:sldIdLst>
        </p14:section>
        <p14:section name="Appendix" id="{9916D341-4948-445D-83CC-824559C2F5A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064">
          <p15:clr>
            <a:srgbClr val="A4A3A4"/>
          </p15:clr>
        </p15:guide>
        <p15:guide id="2" pos="3977">
          <p15:clr>
            <a:srgbClr val="A4A3A4"/>
          </p15:clr>
        </p15:guide>
      </p15:sldGuideLst>
    </p:ext>
    <p:ext uri="http://customooxmlschemas.google.com/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119" roundtripDataSignature="AMtx7mjFEWsPWnmskcRBm8K2kJnRdxPC4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ndran, Nanda" initials="CN" lastIdx="2" clrIdx="0">
    <p:extLst>
      <p:ext uri="{19B8F6BF-5375-455C-9EA6-DF929625EA0E}">
        <p15:presenceInfo xmlns:p15="http://schemas.microsoft.com/office/powerpoint/2012/main" userId="S::Nanda_Chandran@pharmaessentia.com::d634ce4a-604b-4274-a590-ba500a82e8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CEAEB"/>
    <a:srgbClr val="DE5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14B432A-DAAE-45B4-925E-232861F8A2FB}">
  <a:tblStyle styleId="{E14B432A-DAAE-45B4-925E-232861F8A2FB}" styleName="Table_0">
    <a:wholeTbl>
      <a:tcTxStyle b="off" i="off">
        <a:font>
          <a:latin typeface="Trebuchet MS"/>
          <a:ea typeface="Trebuchet MS"/>
          <a:cs typeface="Trebuchet MS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6E7E9"/>
          </a:solidFill>
        </a:fill>
      </a:tcStyle>
    </a:wholeTbl>
    <a:band1H>
      <a:tcTxStyle/>
      <a:tcStyle>
        <a:tcBdr/>
        <a:fill>
          <a:solidFill>
            <a:srgbClr val="EDCBD1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EDCBD1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94589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2064"/>
        <p:guide pos="397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21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120" Type="http://schemas.openxmlformats.org/officeDocument/2006/relationships/commentAuthors" Target="commentAuthors.xml"/><Relationship Id="rId7" Type="http://schemas.openxmlformats.org/officeDocument/2006/relationships/slide" Target="slides/slide4.xml"/><Relationship Id="rId124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23" Type="http://schemas.openxmlformats.org/officeDocument/2006/relationships/theme" Target="theme/theme1.xml"/><Relationship Id="rId5" Type="http://schemas.openxmlformats.org/officeDocument/2006/relationships/slide" Target="slides/slide2.xml"/><Relationship Id="rId119" Type="http://customschemas.google.com/relationships/presentationmetadata" Target="metadata"/><Relationship Id="rId10" Type="http://schemas.openxmlformats.org/officeDocument/2006/relationships/tags" Target="tags/tag1.xml"/><Relationship Id="rId12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5" name="Google Shape;315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56" name="Google Shape;315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8006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9" name="Google Shape;3739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40" name="Google Shape;374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47822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020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0720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5163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020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088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35428426-A54F-0701-399F-9654EA3627B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8958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956102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E48850B9-E53E-57D9-076B-71206CE7BC4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59915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 cstate="print">
              <a:alphaModFix amt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811E659C-732D-9BB0-84BF-3C4E0779C4A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4180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981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989A65A-F7F9-3DEC-A6A9-FAD58F2CB77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10C65A38-FDB4-7368-73B5-DC0F48BCEFE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5" r:id="rId1"/>
    <p:sldLayoutId id="2147483683" r:id="rId2"/>
    <p:sldLayoutId id="2147483685" r:id="rId3"/>
    <p:sldLayoutId id="2147483682" r:id="rId4"/>
    <p:sldLayoutId id="2147483684" r:id="rId5"/>
    <p:sldLayoutId id="2147483654" r:id="rId6"/>
    <p:sldLayoutId id="2147483655" r:id="rId7"/>
    <p:sldLayoutId id="2147483660" r:id="rId8"/>
    <p:sldLayoutId id="2147483664" r:id="rId9"/>
    <p:sldLayoutId id="2147483665" r:id="rId10"/>
    <p:sldLayoutId id="2147483666" r:id="rId11"/>
    <p:sldLayoutId id="2147483667" r:id="rId12"/>
    <p:sldLayoutId id="2147483669" r:id="rId13"/>
    <p:sldLayoutId id="2147483670" r:id="rId14"/>
    <p:sldLayoutId id="2147483671" r:id="rId15"/>
    <p:sldLayoutId id="2147483672" r:id="rId16"/>
    <p:sldLayoutId id="2147483679" r:id="rId17"/>
    <p:sldLayoutId id="2147483680" r:id="rId18"/>
    <p:sldLayoutId id="2147483681" r:id="rId19"/>
    <p:sldLayoutId id="2147483686" r:id="rId20"/>
    <p:sldLayoutId id="2147483688" r:id="rId2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2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s-stratgic-work/Python-Tricks.git" TargetMode="Externa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97668C0-CE9D-764B-AEC7-99714A50F560}"/>
              </a:ext>
            </a:extLst>
          </p:cNvPr>
          <p:cNvSpPr txBox="1"/>
          <p:nvPr/>
        </p:nvSpPr>
        <p:spPr>
          <a:xfrm>
            <a:off x="1140542" y="2084439"/>
            <a:ext cx="739385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ccelerate the Python Code with</a:t>
            </a:r>
          </a:p>
          <a:p>
            <a:r>
              <a:rPr lang="en-US" b="1" dirty="0">
                <a:highlight>
                  <a:srgbClr val="FFFFFF"/>
                </a:highlight>
                <a:latin typeface="system-ui"/>
              </a:rPr>
              <a:t>                                                       </a:t>
            </a:r>
            <a:r>
              <a:rPr lang="en-US" b="1" i="0" dirty="0">
                <a:effectLst/>
                <a:highlight>
                  <a:srgbClr val="FFFFFF"/>
                </a:highlight>
                <a:latin typeface="system-ui"/>
              </a:rPr>
              <a:t> </a:t>
            </a:r>
            <a:r>
              <a:rPr lang="en-US" sz="2800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se 9 Subtle Effective</a:t>
            </a:r>
          </a:p>
          <a:p>
            <a:r>
              <a:rPr lang="en-US" sz="2800" b="1" dirty="0">
                <a:solidFill>
                  <a:schemeClr val="accent1"/>
                </a:solidFill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</a:t>
            </a:r>
            <a:r>
              <a:rPr lang="en-US" sz="2800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i="0" dirty="0">
                <a:solidFill>
                  <a:srgbClr val="00B05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ricks</a:t>
            </a:r>
            <a:r>
              <a:rPr lang="en-US" sz="2800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762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76965C-6814-9635-137E-3C77CBC5F69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4" name="Picture 3" descr="A person holding a tablet&#10;&#10;Description automatically generated">
            <a:extLst>
              <a:ext uri="{FF2B5EF4-FFF2-40B4-BE49-F238E27FC236}">
                <a16:creationId xmlns:a16="http://schemas.microsoft.com/office/drawing/2014/main" id="{9E847128-4733-EF86-4A53-2543CB2BE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9686" y="0"/>
            <a:ext cx="5442314" cy="1466157"/>
          </a:xfrm>
          <a:custGeom>
            <a:avLst/>
            <a:gdLst>
              <a:gd name="connsiteX0" fmla="*/ 454780 w 5442314"/>
              <a:gd name="connsiteY0" fmla="*/ 0 h 1466157"/>
              <a:gd name="connsiteX1" fmla="*/ 5442314 w 5442314"/>
              <a:gd name="connsiteY1" fmla="*/ 0 h 1466157"/>
              <a:gd name="connsiteX2" fmla="*/ 5442314 w 5442314"/>
              <a:gd name="connsiteY2" fmla="*/ 1466157 h 1466157"/>
              <a:gd name="connsiteX3" fmla="*/ 1224136 w 5442314"/>
              <a:gd name="connsiteY3" fmla="*/ 1466157 h 1466157"/>
              <a:gd name="connsiteX4" fmla="*/ 1209160 w 5442314"/>
              <a:gd name="connsiteY4" fmla="*/ 1466157 h 1466157"/>
              <a:gd name="connsiteX5" fmla="*/ 1132029 w 5442314"/>
              <a:gd name="connsiteY5" fmla="*/ 1462262 h 1466157"/>
              <a:gd name="connsiteX6" fmla="*/ 1124626 w 5442314"/>
              <a:gd name="connsiteY6" fmla="*/ 1461132 h 1466157"/>
              <a:gd name="connsiteX7" fmla="*/ 1098975 w 5442314"/>
              <a:gd name="connsiteY7" fmla="*/ 1459837 h 1466157"/>
              <a:gd name="connsiteX8" fmla="*/ 0 w 5442314"/>
              <a:gd name="connsiteY8" fmla="*/ 242021 h 1466157"/>
              <a:gd name="connsiteX9" fmla="*/ 6320 w 5442314"/>
              <a:gd name="connsiteY9" fmla="*/ 116861 h 1466157"/>
              <a:gd name="connsiteX10" fmla="*/ 23679 w 5442314"/>
              <a:gd name="connsiteY10" fmla="*/ 3117 h 1466157"/>
              <a:gd name="connsiteX11" fmla="*/ 454780 w 5442314"/>
              <a:gd name="connsiteY11" fmla="*/ 3117 h 146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42314" h="1466157">
                <a:moveTo>
                  <a:pt x="454780" y="0"/>
                </a:moveTo>
                <a:lnTo>
                  <a:pt x="5442314" y="0"/>
                </a:lnTo>
                <a:lnTo>
                  <a:pt x="5442314" y="1466157"/>
                </a:lnTo>
                <a:lnTo>
                  <a:pt x="1224136" y="1466157"/>
                </a:lnTo>
                <a:lnTo>
                  <a:pt x="1209160" y="1466157"/>
                </a:lnTo>
                <a:cubicBezTo>
                  <a:pt x="1183121" y="1466157"/>
                  <a:pt x="1157390" y="1464838"/>
                  <a:pt x="1132029" y="1462262"/>
                </a:cubicBezTo>
                <a:lnTo>
                  <a:pt x="1124626" y="1461132"/>
                </a:lnTo>
                <a:lnTo>
                  <a:pt x="1098975" y="1459837"/>
                </a:lnTo>
                <a:cubicBezTo>
                  <a:pt x="481697" y="1397149"/>
                  <a:pt x="0" y="875839"/>
                  <a:pt x="0" y="242021"/>
                </a:cubicBezTo>
                <a:cubicBezTo>
                  <a:pt x="0" y="199767"/>
                  <a:pt x="2141" y="158013"/>
                  <a:pt x="6320" y="116861"/>
                </a:cubicBezTo>
                <a:lnTo>
                  <a:pt x="23679" y="3117"/>
                </a:lnTo>
                <a:lnTo>
                  <a:pt x="454780" y="3117"/>
                </a:lnTo>
                <a:close/>
              </a:path>
            </a:pathLst>
          </a:custGeom>
        </p:spPr>
      </p:pic>
      <p:sp>
        <p:nvSpPr>
          <p:cNvPr id="5" name="Rectangle: Single Corner Rounded 4">
            <a:extLst>
              <a:ext uri="{FF2B5EF4-FFF2-40B4-BE49-F238E27FC236}">
                <a16:creationId xmlns:a16="http://schemas.microsoft.com/office/drawing/2014/main" id="{93C64B0E-020E-DA02-4369-AF7DF1A8621B}"/>
              </a:ext>
            </a:extLst>
          </p:cNvPr>
          <p:cNvSpPr/>
          <p:nvPr/>
        </p:nvSpPr>
        <p:spPr>
          <a:xfrm>
            <a:off x="1" y="1683320"/>
            <a:ext cx="8272462" cy="1544674"/>
          </a:xfrm>
          <a:prstGeom prst="round1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8CAA24-3168-758B-8763-F62F3B069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973" y="3429000"/>
            <a:ext cx="8272461" cy="2492990"/>
          </a:xfrm>
        </p:spPr>
        <p:txBody>
          <a:bodyPr/>
          <a:lstStyle/>
          <a:p>
            <a:r>
              <a:rPr lang="en-US" sz="18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ython's speed is a common concern in programming language debates, but it shouldn't overshadow the many advantages that Python offers. When written in a Pythonic manner, Python can be quite fast. Skilled Python programmers have a variety of techniques at their disposal to boost their code's performance. While these methods may appear small, they can make a significant impact on efficiency. </a:t>
            </a:r>
            <a:br>
              <a:rPr lang="en-US" sz="18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8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et's explore 9 of these strategies that can revolutionize the process of writing and optimizing Python code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FCA299-58D0-9015-4A2F-CE53F973C2B0}"/>
              </a:ext>
            </a:extLst>
          </p:cNvPr>
          <p:cNvSpPr txBox="1"/>
          <p:nvPr/>
        </p:nvSpPr>
        <p:spPr>
          <a:xfrm>
            <a:off x="462116" y="2035277"/>
            <a:ext cx="61648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4866445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83B6E6-6A23-FE9E-94EB-0F82C2F2234F}"/>
              </a:ext>
            </a:extLst>
          </p:cNvPr>
          <p:cNvSpPr txBox="1"/>
          <p:nvPr/>
        </p:nvSpPr>
        <p:spPr>
          <a:xfrm>
            <a:off x="442452" y="619432"/>
            <a:ext cx="58108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1. Join() method over ‘+’ operato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BE2189-B8D3-E8FC-6A20-693AD23F89DA}"/>
              </a:ext>
            </a:extLst>
          </p:cNvPr>
          <p:cNvSpPr txBox="1"/>
          <p:nvPr/>
        </p:nvSpPr>
        <p:spPr>
          <a:xfrm>
            <a:off x="442452" y="1130710"/>
            <a:ext cx="5810863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re are essentially two methods for string concatenation in Python:</a:t>
            </a:r>
          </a:p>
          <a:p>
            <a:pPr algn="l"/>
            <a:endParaRPr lang="en-US" sz="1200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. Utilize the join() function to merge a list of strings into a single string.</a:t>
            </a:r>
          </a:p>
          <a:p>
            <a:pPr algn="l"/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. Use the + or += symbol to append each string into one.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he join() method proves to be a more efficient approach for concatenating a list of strings compared to adding the strings individually in a loop.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yntax of join:</a:t>
            </a:r>
          </a:p>
          <a:p>
            <a:r>
              <a:rPr lang="en-US" sz="1200" b="0" i="1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&gt;&gt; string</a:t>
            </a:r>
            <a:r>
              <a:rPr lang="en-US" sz="12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join(</a:t>
            </a:r>
            <a:r>
              <a:rPr lang="en-US" sz="1200" b="0" i="1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terable</a:t>
            </a:r>
            <a:r>
              <a:rPr lang="en-US" sz="12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en-US" sz="1200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yntax of ‘+’operator:</a:t>
            </a:r>
          </a:p>
          <a:p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&gt;&gt;string + string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6534D7-E2BA-289D-4B90-62E3295A645F}"/>
              </a:ext>
            </a:extLst>
          </p:cNvPr>
          <p:cNvSpPr txBox="1"/>
          <p:nvPr/>
        </p:nvSpPr>
        <p:spPr>
          <a:xfrm>
            <a:off x="6412027" y="619432"/>
            <a:ext cx="410988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"[]" instead of "list()" </a:t>
            </a:r>
          </a:p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D53395-5462-400C-7E0D-E6CAA7EA6407}"/>
              </a:ext>
            </a:extLst>
          </p:cNvPr>
          <p:cNvSpPr txBox="1"/>
          <p:nvPr/>
        </p:nvSpPr>
        <p:spPr>
          <a:xfrm>
            <a:off x="6764594" y="1219200"/>
            <a:ext cx="489646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he difference between () and [] in Python</a:t>
            </a:r>
          </a:p>
          <a:p>
            <a:r>
              <a:rPr lang="en-US" sz="1200" b="1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2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Using () creates a tuple which is an immutable list, meaning once it is created you cannot add, change, or remove elements from the tuple. Using [] creates a list that works like an array or vector from other languages.</a:t>
            </a:r>
          </a:p>
          <a:p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yntax: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1A05314F-7625-848C-BE86-9DA4E7660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0232" y="2604194"/>
            <a:ext cx="3864077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&gt;&gt; 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meit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"[]")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0.040084982867934334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solidFill>
                <a:srgbClr val="0C0D0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&gt;&gt; 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meit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"list()"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solidFill>
                <a:srgbClr val="0C0D0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0.17704233359267718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C20B0E1-CCA7-612E-A8C1-A8DDB1E5D103}"/>
              </a:ext>
            </a:extLst>
          </p:cNvPr>
          <p:cNvSpPr txBox="1"/>
          <p:nvPr/>
        </p:nvSpPr>
        <p:spPr>
          <a:xfrm>
            <a:off x="442452" y="3893574"/>
            <a:ext cx="511277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t Instead of a List</a:t>
            </a:r>
          </a:p>
          <a:p>
            <a:endParaRPr lang="en-US" sz="1800" b="1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highlight>
                  <a:srgbClr val="FFFFFF"/>
                </a:highlight>
                <a:latin typeface="system-ui"/>
              </a:rPr>
              <a:t>    S</a:t>
            </a:r>
            <a:r>
              <a:rPr lang="en-US" b="0" i="0" dirty="0">
                <a:effectLst/>
                <a:highlight>
                  <a:srgbClr val="FFFFFF"/>
                </a:highlight>
                <a:latin typeface="system-ui"/>
              </a:rPr>
              <a:t>ets in Python are implemented as hash tables, and have an average time complexity of O(1).</a:t>
            </a:r>
          </a:p>
          <a:p>
            <a:r>
              <a:rPr lang="en-US" b="0" i="0" dirty="0">
                <a:effectLst/>
                <a:highlight>
                  <a:srgbClr val="FFFFFF"/>
                </a:highlight>
                <a:latin typeface="system-ui"/>
              </a:rPr>
              <a:t>In lists, membership testing is performed by iterating over each element until the desired element is found or the end of the list is reached. This process has a time complexity of O(n), where n is the number of elements in the list.</a:t>
            </a:r>
          </a:p>
          <a:p>
            <a:endParaRPr lang="en-US" b="1" i="0" dirty="0">
              <a:effectLst/>
              <a:highlight>
                <a:srgbClr val="FFFFFF"/>
              </a:highlight>
              <a:latin typeface="system-ui"/>
            </a:endParaRPr>
          </a:p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71E8A23-6699-30EA-CB5D-1B9F7B7DFFF1}"/>
              </a:ext>
            </a:extLst>
          </p:cNvPr>
          <p:cNvSpPr txBox="1"/>
          <p:nvPr/>
        </p:nvSpPr>
        <p:spPr>
          <a:xfrm>
            <a:off x="6096000" y="3868688"/>
            <a:ext cx="556505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mprehensions Instead of For Loops</a:t>
            </a:r>
          </a:p>
          <a:p>
            <a:endParaRPr lang="en-US" sz="1200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Utilizing a for loop is a frequently used method for iterating through a list. Conversely, list comprehension offers a more efficient approach to list iteration as it necessitates fewer lines of code. List comprehension consumes less computational resources compared to a loop due to its compact nature and concise code structure.</a:t>
            </a:r>
          </a:p>
          <a:p>
            <a:endParaRPr lang="en-US" sz="1200" dirty="0">
              <a:highlight>
                <a:srgbClr val="F4F5F6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&gt;&gt; </a:t>
            </a:r>
            <a:r>
              <a:rPr lang="en-US" sz="1200" i="1" dirty="0">
                <a:solidFill>
                  <a:srgbClr val="273239"/>
                </a:solidFill>
                <a:effectLst/>
                <a:highlight>
                  <a:srgbClr val="F9F9F9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yntax: newList = [ expression(element) for element in oldList if condition ] </a:t>
            </a:r>
            <a:endParaRPr lang="en-US" sz="1200" i="0" dirty="0">
              <a:solidFill>
                <a:srgbClr val="000000"/>
              </a:solidFill>
              <a:effectLst/>
              <a:highlight>
                <a:srgbClr val="F4F5F6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621012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598E4EB-973B-927E-B13F-9025497AC14C}"/>
              </a:ext>
            </a:extLst>
          </p:cNvPr>
          <p:cNvSpPr txBox="1"/>
          <p:nvPr/>
        </p:nvSpPr>
        <p:spPr>
          <a:xfrm>
            <a:off x="442452" y="619432"/>
            <a:ext cx="58108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5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system-ui"/>
              </a:rPr>
              <a:t>Priority to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ocal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system-ui"/>
              </a:rPr>
              <a:t> Variables</a:t>
            </a:r>
          </a:p>
          <a:p>
            <a:endParaRPr lang="en-US" sz="20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13A7A4-C283-E8D3-9CE9-044280BD2CED}"/>
              </a:ext>
            </a:extLst>
          </p:cNvPr>
          <p:cNvSpPr txBox="1"/>
          <p:nvPr/>
        </p:nvSpPr>
        <p:spPr>
          <a:xfrm>
            <a:off x="442453" y="1130710"/>
            <a:ext cx="47391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 local variable holds priority within its scope, overshadowing the global variable's value within the particular code block or function.</a:t>
            </a:r>
          </a:p>
          <a:p>
            <a:pPr algn="l"/>
            <a:endParaRPr lang="en-US" sz="1200" dirty="0">
              <a:highlight>
                <a:srgbClr val="F4F5F6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200" dirty="0" err="1"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g.</a:t>
            </a:r>
            <a:r>
              <a:rPr lang="en-US" sz="1200" dirty="0"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en-US" sz="1200" dirty="0"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# declare global variable</a:t>
            </a:r>
          </a:p>
          <a:p>
            <a:pPr algn="l"/>
            <a:r>
              <a:rPr lang="en-US" sz="1200" dirty="0"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essage = 'Hello'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f greet():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  # declare local variable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  print('Local', message)</a:t>
            </a:r>
          </a:p>
          <a:p>
            <a:pPr algn="l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reet()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rint('Global', message)</a:t>
            </a:r>
          </a:p>
          <a:p>
            <a:pPr algn="l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/P: Local Hello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     Global Hello</a:t>
            </a:r>
          </a:p>
          <a:p>
            <a:pPr algn="l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4313D8-AA6A-61C9-B874-F338A80EBF02}"/>
              </a:ext>
            </a:extLst>
          </p:cNvPr>
          <p:cNvSpPr txBox="1"/>
          <p:nvPr/>
        </p:nvSpPr>
        <p:spPr>
          <a:xfrm>
            <a:off x="6096000" y="619432"/>
            <a:ext cx="48866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6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e-existing modules and Libraries</a:t>
            </a:r>
          </a:p>
          <a:p>
            <a:endParaRPr 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F68902-4F7A-5F28-F420-B48CA1EFAA67}"/>
              </a:ext>
            </a:extLst>
          </p:cNvPr>
          <p:cNvSpPr txBox="1"/>
          <p:nvPr/>
        </p:nvSpPr>
        <p:spPr>
          <a:xfrm>
            <a:off x="6096000" y="1219200"/>
            <a:ext cx="55650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 CPython is the default and most commonly utilized implementation of the Python language. </a:t>
            </a:r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significant portion of its built-in modules and libraries are coded in C, a faster and more low-level language</a:t>
            </a:r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 So using a pre-existing module gives a faster result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2B1002-5540-8827-28A3-6A2700496F77}"/>
              </a:ext>
            </a:extLst>
          </p:cNvPr>
          <p:cNvSpPr txBox="1"/>
          <p:nvPr/>
        </p:nvSpPr>
        <p:spPr>
          <a:xfrm>
            <a:off x="442452" y="4017453"/>
            <a:ext cx="5112774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7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unction Calls with Cache Decorator</a:t>
            </a:r>
          </a:p>
          <a:p>
            <a:endParaRPr lang="en-US" dirty="0">
              <a:highlight>
                <a:srgbClr val="FFFFFF"/>
              </a:highlight>
              <a:latin typeface="system-ui"/>
            </a:endParaRPr>
          </a:p>
          <a:p>
            <a:r>
              <a:rPr lang="en-US" dirty="0">
                <a:highlight>
                  <a:srgbClr val="FFFFFF"/>
                </a:highlight>
                <a:latin typeface="system-ui"/>
              </a:rPr>
              <a:t>    Memorization is a widely employed strategy to prevent redundant computations and enhance program performance. There is no need for us to create our caching mechanism in many scenarios, as Python offers a built-in decorator specifically designed for this :</a:t>
            </a:r>
          </a:p>
          <a:p>
            <a:endParaRPr lang="en-US" dirty="0">
              <a:highlight>
                <a:srgbClr val="FFFFFF"/>
              </a:highlight>
              <a:latin typeface="system-ui"/>
            </a:endParaRPr>
          </a:p>
          <a:p>
            <a:r>
              <a:rPr lang="en-US" dirty="0">
                <a:highlight>
                  <a:srgbClr val="FFFFFF"/>
                </a:highlight>
                <a:latin typeface="system-ui"/>
              </a:rPr>
              <a:t>— @functools.cache.</a:t>
            </a:r>
            <a:endParaRPr lang="en-US" b="1" i="0" dirty="0">
              <a:effectLst/>
              <a:highlight>
                <a:srgbClr val="FFFFFF"/>
              </a:highlight>
              <a:latin typeface="system-ui"/>
            </a:endParaRPr>
          </a:p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2F3671-BF15-4AA4-D266-DF650698F57B}"/>
              </a:ext>
            </a:extLst>
          </p:cNvPr>
          <p:cNvSpPr txBox="1"/>
          <p:nvPr/>
        </p:nvSpPr>
        <p:spPr>
          <a:xfrm>
            <a:off x="6184490" y="2385469"/>
            <a:ext cx="556505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8. while ‘True’ or while ‘1’</a:t>
            </a:r>
          </a:p>
          <a:p>
            <a:endParaRPr lang="en-US" sz="1200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b="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is is because 1 is a literal value, whereas True is a global name that must be searched for in Python's global scope, resulting in a small amount of overhead.</a:t>
            </a:r>
            <a:endParaRPr lang="en-US" sz="1200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93F426C-CE06-2633-7E51-1C565F90C56A}"/>
              </a:ext>
            </a:extLst>
          </p:cNvPr>
          <p:cNvSpPr txBox="1"/>
          <p:nvPr/>
        </p:nvSpPr>
        <p:spPr>
          <a:xfrm>
            <a:off x="6381135" y="4017453"/>
            <a:ext cx="527992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9.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Optimize Python Module Imports</a:t>
            </a:r>
          </a:p>
          <a:p>
            <a:endParaRPr lang="en-US" sz="2000" b="1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ackages (directories with __init__.py) take precedence over modules. </a:t>
            </a:r>
          </a:p>
          <a:p>
            <a:endParaRPr lang="en-US" sz="1200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You will also need a __init__.py within the directory for your example to work.</a:t>
            </a:r>
            <a:endParaRPr lang="en-US" sz="2000" b="1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414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F3FD7F-6A14-1306-ECAD-EF7F93F83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F3FD7F-6A14-1306-ECAD-EF7F93F8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9C1B125F-7FB8-4135-B066-C9B08774D8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55" name="Google Shape;3755;p1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756" name="Google Shape;3756;p13"/>
          <p:cNvSpPr txBox="1"/>
          <p:nvPr/>
        </p:nvSpPr>
        <p:spPr>
          <a:xfrm>
            <a:off x="599587" y="1600903"/>
            <a:ext cx="502405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Trebuchet MS"/>
              <a:buNone/>
              <a:tabLst/>
              <a:defRPr/>
            </a:pPr>
            <a:r>
              <a:rPr kumimoji="0" lang="en-US" sz="60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Thank You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Google Shape;3756;p13">
            <a:extLst>
              <a:ext uri="{FF2B5EF4-FFF2-40B4-BE49-F238E27FC236}">
                <a16:creationId xmlns:a16="http://schemas.microsoft.com/office/drawing/2014/main" id="{2F2136A6-5F15-A918-B211-A768C33FA785}"/>
              </a:ext>
            </a:extLst>
          </p:cNvPr>
          <p:cNvSpPr txBox="1"/>
          <p:nvPr/>
        </p:nvSpPr>
        <p:spPr>
          <a:xfrm>
            <a:off x="599587" y="3867802"/>
            <a:ext cx="4883991" cy="1311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Outcome-Oriented AI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Fueled by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Innovative Experimentatio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3190;p3">
            <a:extLst>
              <a:ext uri="{FF2B5EF4-FFF2-40B4-BE49-F238E27FC236}">
                <a16:creationId xmlns:a16="http://schemas.microsoft.com/office/drawing/2014/main" id="{C2EE17B4-DF0B-19A9-93DE-5EA1DB5040A7}"/>
              </a:ext>
            </a:extLst>
          </p:cNvPr>
          <p:cNvSpPr/>
          <p:nvPr/>
        </p:nvSpPr>
        <p:spPr>
          <a:xfrm flipH="1">
            <a:off x="659478" y="3040223"/>
            <a:ext cx="8799445" cy="517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rebuchet MS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dSights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is a data tech specialist with a vision to create value through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: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30354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FECCD0-F6CD-E2D8-B34A-B0B55C858E73}"/>
              </a:ext>
            </a:extLst>
          </p:cNvPr>
          <p:cNvCxnSpPr>
            <a:cxnSpLocks/>
          </p:cNvCxnSpPr>
          <p:nvPr/>
        </p:nvCxnSpPr>
        <p:spPr>
          <a:xfrm>
            <a:off x="724796" y="3726704"/>
            <a:ext cx="5576949" cy="0"/>
          </a:xfrm>
          <a:prstGeom prst="line">
            <a:avLst/>
          </a:prstGeom>
          <a:ln w="76200">
            <a:gradFill flip="none" rotWithShape="1">
              <a:gsLst>
                <a:gs pos="0">
                  <a:schemeClr val="accent1">
                    <a:lumMod val="45000"/>
                    <a:lumOff val="5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oogle Shape;1091;p52">
            <a:extLst>
              <a:ext uri="{FF2B5EF4-FFF2-40B4-BE49-F238E27FC236}">
                <a16:creationId xmlns:a16="http://schemas.microsoft.com/office/drawing/2014/main" id="{DE7C33D7-4A4F-B4BB-89B2-C58509D8AE01}"/>
              </a:ext>
            </a:extLst>
          </p:cNvPr>
          <p:cNvPicPr preferRelativeResize="0"/>
          <p:nvPr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587" y="494781"/>
            <a:ext cx="1321097" cy="39807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6408409-112C-F385-9E1B-4D5AB96D5FA6}"/>
              </a:ext>
            </a:extLst>
          </p:cNvPr>
          <p:cNvSpPr txBox="1"/>
          <p:nvPr/>
        </p:nvSpPr>
        <p:spPr>
          <a:xfrm>
            <a:off x="724796" y="5437239"/>
            <a:ext cx="7396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Github</a:t>
            </a:r>
            <a:r>
              <a:rPr lang="en-US" dirty="0"/>
              <a:t>: </a:t>
            </a:r>
            <a:r>
              <a:rPr lang="en-US" dirty="0">
                <a:hlinkClick r:id="rId8"/>
              </a:rPr>
              <a:t>https://github.com/ds-stratgic-work/Python-Tricks.gi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314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2E379E2436A64596D003B14963E0BA" ma:contentTypeVersion="0" ma:contentTypeDescription="Create a new document." ma:contentTypeScope="" ma:versionID="b11a9bb1d4b5abf642b3099d0b7085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3f9ca9ed2b1b526ffdf70859b84e62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4E4E58-B45F-4A33-8310-8124205F3B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75B928-AFD3-4052-A916-B15CED6243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34</TotalTime>
  <Words>731</Words>
  <Application>Microsoft Office PowerPoint</Application>
  <PresentationFormat>Widescreen</PresentationFormat>
  <Paragraphs>77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system-ui</vt:lpstr>
      <vt:lpstr>Trebuchet MS</vt:lpstr>
      <vt:lpstr>1_Office Theme</vt:lpstr>
      <vt:lpstr>think-cell Slide</vt:lpstr>
      <vt:lpstr>PowerPoint Presentation</vt:lpstr>
      <vt:lpstr>Python's speed is a common concern in programming language debates, but it shouldn't overshadow the many advantages that Python offers. When written in a Pythonic manner, Python can be quite fast. Skilled Python programmers have a variety of techniques at their disposal to boost their code's performance. While these methods may appear small, they can make a significant impact on efficiency.   Let's explore 9 of these strategies that can revolutionize the process of writing and optimizing Python code.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ights: Your Data Science Partner</dc:title>
  <dc:creator>Juby Panokkaran</dc:creator>
  <cp:lastModifiedBy>Sarmita Majumdar</cp:lastModifiedBy>
  <cp:revision>38</cp:revision>
  <dcterms:created xsi:type="dcterms:W3CDTF">2022-04-11T12:34:12Z</dcterms:created>
  <dcterms:modified xsi:type="dcterms:W3CDTF">2024-05-13T04:3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1.0.10702</vt:lpwstr>
  </property>
</Properties>
</file>